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image" Target="../media/image1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8.png"/><Relationship Id="rId5" Type="http://schemas.openxmlformats.org/officeDocument/2006/relationships/tags" Target="../tags/tag5.xml"/><Relationship Id="rId10" Type="http://schemas.openxmlformats.org/officeDocument/2006/relationships/image" Target="../media/image7.png"/><Relationship Id="rId4" Type="http://schemas.openxmlformats.org/officeDocument/2006/relationships/tags" Target="../tags/tag4.xml"/><Relationship Id="rId9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65" name="6 Rectángulo">
            <a:extLst>
              <a:ext uri="{FF2B5EF4-FFF2-40B4-BE49-F238E27FC236}">
                <a16:creationId xmlns:a16="http://schemas.microsoft.com/office/drawing/2014/main" id="{4D5097A6-D6F8-42D1-AE78-10C8279C383B}"/>
              </a:ext>
            </a:extLst>
          </p:cNvPr>
          <p:cNvSpPr/>
          <p:nvPr/>
        </p:nvSpPr>
        <p:spPr>
          <a:xfrm>
            <a:off x="406414" y="87025"/>
            <a:ext cx="107928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</a:t>
            </a:r>
            <a:r>
              <a:rPr lang="es-ES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, mejoramiento y conservación de la infraestructura física general en el establecimiento EPMSC ROLDANILLO</a:t>
            </a:r>
            <a:endParaRPr lang="es-CO" sz="12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s-CO" sz="1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66" name="Rectangle 181">
            <a:extLst>
              <a:ext uri="{FF2B5EF4-FFF2-40B4-BE49-F238E27FC236}">
                <a16:creationId xmlns:a16="http://schemas.microsoft.com/office/drawing/2014/main" id="{2B5DF3D7-9E71-4908-AA98-3FC64CEFE3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0055" y="900597"/>
            <a:ext cx="5296069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7" name="Rectangle 181">
            <a:extLst>
              <a:ext uri="{FF2B5EF4-FFF2-40B4-BE49-F238E27FC236}">
                <a16:creationId xmlns:a16="http://schemas.microsoft.com/office/drawing/2014/main" id="{069615B7-E6C7-4405-9B40-3470C0549B2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779436" y="920534"/>
            <a:ext cx="5138002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8" name="Rectangle 181">
            <a:extLst>
              <a:ext uri="{FF2B5EF4-FFF2-40B4-BE49-F238E27FC236}">
                <a16:creationId xmlns:a16="http://schemas.microsoft.com/office/drawing/2014/main" id="{410996BB-78EE-4B0F-8E66-810EA7EAC7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00055" y="3580931"/>
            <a:ext cx="5289710" cy="19561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9" name="CuadroTexto 42">
            <a:extLst>
              <a:ext uri="{FF2B5EF4-FFF2-40B4-BE49-F238E27FC236}">
                <a16:creationId xmlns:a16="http://schemas.microsoft.com/office/drawing/2014/main" id="{AC432C62-40A8-4BD1-8CD5-EEC02CC3E30E}"/>
              </a:ext>
            </a:extLst>
          </p:cNvPr>
          <p:cNvSpPr txBox="1"/>
          <p:nvPr/>
        </p:nvSpPr>
        <p:spPr>
          <a:xfrm>
            <a:off x="400056" y="1188629"/>
            <a:ext cx="5296068" cy="230832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realizó visita de seguimiento el día 26 de Agosto de 2019, donde participo  Dirección del establecimiento , INPEC, USPEC, ENTERRITORIO , Interventoría y Contratista de Obra. Se visita cada uno de los frentes intervenidos, dejando observaciones por atender, entre estas los acabados en área de sanidad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ante acta del 3 de septiembre se da prioridad a los acabados en área de sanidad, se modifica el contrato de interventoría y obra adicionando y prorrogando la ejecución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etapa de ejecución culmino el pasado  12 de octubre de 2019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ualmente presente un avance programado del 100% versus un avance ejecutado del 100%.</a:t>
            </a: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419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 USPEC, presenta observaciones de acuerdo a visita realizada el 17 de octubre, se socializaron con Interventoría y Contratista, se solicita atender y justificar estas observaciones.</a:t>
            </a:r>
            <a:endParaRPr lang="es-ES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>
              <a:buFont typeface="Wingdings" panose="05000000000000000000" pitchFamily="2" charset="2"/>
              <a:buChar char="ü"/>
              <a:defRPr/>
            </a:pPr>
            <a:r>
              <a:rPr lang="es-ES" sz="9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 esta coordinando visita para toma de decisiones en campo de acuerdo a las observaciones remitidas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9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0" name="28 CuadroTexto">
            <a:extLst>
              <a:ext uri="{FF2B5EF4-FFF2-40B4-BE49-F238E27FC236}">
                <a16:creationId xmlns:a16="http://schemas.microsoft.com/office/drawing/2014/main" id="{3F268D2D-2D0B-4DD3-A4D9-C9E63D4237F5}"/>
              </a:ext>
            </a:extLst>
          </p:cNvPr>
          <p:cNvSpPr txBox="1"/>
          <p:nvPr/>
        </p:nvSpPr>
        <p:spPr>
          <a:xfrm>
            <a:off x="5779436" y="1297203"/>
            <a:ext cx="5138002" cy="116955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resultado del alcance de ejecución propuesto objeto de la etapa 1, el siguiente:</a:t>
            </a:r>
          </a:p>
          <a:p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419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lición Alojamiento Internos Celdas 1 al 5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419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ción Edificio Bloque de Celdas Internos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es-419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bierta – Desmonte y montaje.</a:t>
            </a: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71" name="Tabla 70">
            <a:extLst>
              <a:ext uri="{FF2B5EF4-FFF2-40B4-BE49-F238E27FC236}">
                <a16:creationId xmlns:a16="http://schemas.microsoft.com/office/drawing/2014/main" id="{BC7B6480-6DE2-4E90-BDA2-6B53DF40CA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833688"/>
              </p:ext>
            </p:extLst>
          </p:nvPr>
        </p:nvGraphicFramePr>
        <p:xfrm>
          <a:off x="5863430" y="2750432"/>
          <a:ext cx="5138002" cy="326163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9599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80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322">
                <a:tc>
                  <a:txBody>
                    <a:bodyPr/>
                    <a:lstStyle/>
                    <a:p>
                      <a:pPr algn="l"/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0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0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0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0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 may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1 jul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 2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octubre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326678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pPr algn="just"/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2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2 OCTU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1669931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RITORI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000" b="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upues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890.299.799</a:t>
                      </a:r>
                      <a:endParaRPr lang="es-CO" sz="10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88.02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2086">
                <a:tc>
                  <a:txBody>
                    <a:bodyPr/>
                    <a:lstStyle/>
                    <a:p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s-CO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 obra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45596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1000" kern="12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1000" b="1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es-419" sz="10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72" name="Imagen 71">
            <a:extLst>
              <a:ext uri="{FF2B5EF4-FFF2-40B4-BE49-F238E27FC236}">
                <a16:creationId xmlns:a16="http://schemas.microsoft.com/office/drawing/2014/main" id="{C55D77DC-AB1E-4DC7-8750-A7BF04B922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6113" y="3952225"/>
            <a:ext cx="1458467" cy="2027168"/>
          </a:xfrm>
          <a:prstGeom prst="rect">
            <a:avLst/>
          </a:prstGeom>
        </p:spPr>
      </p:pic>
      <p:pic>
        <p:nvPicPr>
          <p:cNvPr id="73" name="Imagen 72">
            <a:extLst>
              <a:ext uri="{FF2B5EF4-FFF2-40B4-BE49-F238E27FC236}">
                <a16:creationId xmlns:a16="http://schemas.microsoft.com/office/drawing/2014/main" id="{9972EE2E-9602-42F5-B810-872F81D349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414" y="3952225"/>
            <a:ext cx="1458467" cy="2005177"/>
          </a:xfrm>
          <a:prstGeom prst="rect">
            <a:avLst/>
          </a:prstGeom>
        </p:spPr>
      </p:pic>
      <p:pic>
        <p:nvPicPr>
          <p:cNvPr id="74" name="Imagen 73">
            <a:extLst>
              <a:ext uri="{FF2B5EF4-FFF2-40B4-BE49-F238E27FC236}">
                <a16:creationId xmlns:a16="http://schemas.microsoft.com/office/drawing/2014/main" id="{290147B1-9A7F-483E-A863-4D9234081D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43981" y="3952225"/>
            <a:ext cx="1458467" cy="2005177"/>
          </a:xfrm>
          <a:prstGeom prst="rect">
            <a:avLst/>
          </a:prstGeom>
        </p:spPr>
      </p:pic>
      <p:sp>
        <p:nvSpPr>
          <p:cNvPr id="75" name="19 CuadroTexto">
            <a:extLst>
              <a:ext uri="{FF2B5EF4-FFF2-40B4-BE49-F238E27FC236}">
                <a16:creationId xmlns:a16="http://schemas.microsoft.com/office/drawing/2014/main" id="{4C35BB57-AF2E-47DA-9946-1C8E18EED93B}"/>
              </a:ext>
            </a:extLst>
          </p:cNvPr>
          <p:cNvSpPr txBox="1"/>
          <p:nvPr/>
        </p:nvSpPr>
        <p:spPr>
          <a:xfrm>
            <a:off x="359822" y="554898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FALLO T-762 </a:t>
            </a:r>
            <a:endParaRPr lang="es-CO" sz="1400" b="1" dirty="0">
              <a:solidFill>
                <a:schemeClr val="tx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544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50" name="Rectangle 178">
            <a:extLst>
              <a:ext uri="{FF2B5EF4-FFF2-40B4-BE49-F238E27FC236}">
                <a16:creationId xmlns:a16="http://schemas.microsoft.com/office/drawing/2014/main" id="{25E88758-C0C4-463D-8D44-42E974BC82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681569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/>
              <a:t>ANRDES TRASLAVIÑA/ </a:t>
            </a:r>
            <a:r>
              <a:rPr lang="es-CO" sz="800" dirty="0"/>
              <a:t>Supervisor </a:t>
            </a:r>
            <a:r>
              <a:rPr lang="es-CO" sz="800" dirty="0" err="1"/>
              <a:t>Enterritorio</a:t>
            </a:r>
            <a:endParaRPr lang="es-CO" sz="800" dirty="0"/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grpSp>
        <p:nvGrpSpPr>
          <p:cNvPr id="134" name="Group 120">
            <a:extLst>
              <a:ext uri="{FF2B5EF4-FFF2-40B4-BE49-F238E27FC236}">
                <a16:creationId xmlns:a16="http://schemas.microsoft.com/office/drawing/2014/main" id="{D8EDE30C-BDF8-4528-B00D-F31D14B2B44F}"/>
              </a:ext>
            </a:extLst>
          </p:cNvPr>
          <p:cNvGrpSpPr>
            <a:grpSpLocks/>
          </p:cNvGrpSpPr>
          <p:nvPr/>
        </p:nvGrpSpPr>
        <p:grpSpPr bwMode="auto">
          <a:xfrm>
            <a:off x="8654694" y="-37132"/>
            <a:ext cx="2771299" cy="1125172"/>
            <a:chOff x="4071" y="1279"/>
            <a:chExt cx="1124" cy="350"/>
          </a:xfrm>
        </p:grpSpPr>
        <p:pic>
          <p:nvPicPr>
            <p:cNvPr id="135" name="Picture 121" descr="j0432549">
              <a:extLst>
                <a:ext uri="{FF2B5EF4-FFF2-40B4-BE49-F238E27FC236}">
                  <a16:creationId xmlns:a16="http://schemas.microsoft.com/office/drawing/2014/main" id="{B73E540B-81BE-49BF-955B-432A36DE6D0F}"/>
                </a:ext>
              </a:extLst>
            </p:cNvPr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2" y="127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Oval 125">
              <a:extLst>
                <a:ext uri="{FF2B5EF4-FFF2-40B4-BE49-F238E27FC236}">
                  <a16:creationId xmlns:a16="http://schemas.microsoft.com/office/drawing/2014/main" id="{E552F77C-3815-4AA5-B447-E76C0118DD7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137" name="Oval 133">
              <a:extLst>
                <a:ext uri="{FF2B5EF4-FFF2-40B4-BE49-F238E27FC236}">
                  <a16:creationId xmlns:a16="http://schemas.microsoft.com/office/drawing/2014/main" id="{F87D036A-B672-41CF-98F6-36EDB75DA2C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158" name="Oval 131">
            <a:extLst>
              <a:ext uri="{FF2B5EF4-FFF2-40B4-BE49-F238E27FC236}">
                <a16:creationId xmlns:a16="http://schemas.microsoft.com/office/drawing/2014/main" id="{04A44F03-AF96-4A2F-9F40-5BD0CC46DF0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953835" y="432091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159" name="Oval 131">
            <a:extLst>
              <a:ext uri="{FF2B5EF4-FFF2-40B4-BE49-F238E27FC236}">
                <a16:creationId xmlns:a16="http://schemas.microsoft.com/office/drawing/2014/main" id="{5029FB37-0C81-42D8-96E8-C0C9CE23374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953835" y="117562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204" name="6 Rectángulo">
            <a:extLst>
              <a:ext uri="{FF2B5EF4-FFF2-40B4-BE49-F238E27FC236}">
                <a16:creationId xmlns:a16="http://schemas.microsoft.com/office/drawing/2014/main" id="{CBD978FB-B591-43F6-929D-22F4523DBC97}"/>
              </a:ext>
            </a:extLst>
          </p:cNvPr>
          <p:cNvSpPr/>
          <p:nvPr/>
        </p:nvSpPr>
        <p:spPr>
          <a:xfrm>
            <a:off x="105591" y="434487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5" name="Rectangle 181">
            <a:extLst>
              <a:ext uri="{FF2B5EF4-FFF2-40B4-BE49-F238E27FC236}">
                <a16:creationId xmlns:a16="http://schemas.microsoft.com/office/drawing/2014/main" id="{6E81DA30-CFAD-4201-A7F5-EDEDB9F3380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76810" y="1051536"/>
            <a:ext cx="4515522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Avance Real</a:t>
            </a:r>
          </a:p>
        </p:txBody>
      </p:sp>
      <p:sp>
        <p:nvSpPr>
          <p:cNvPr id="206" name="Rectangle 184">
            <a:extLst>
              <a:ext uri="{FF2B5EF4-FFF2-40B4-BE49-F238E27FC236}">
                <a16:creationId xmlns:a16="http://schemas.microsoft.com/office/drawing/2014/main" id="{F9673626-6B2B-4047-A77B-8A27DA22A8D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2608" y="1307875"/>
            <a:ext cx="4525397" cy="2404081"/>
          </a:xfrm>
          <a:prstGeom prst="rect">
            <a:avLst/>
          </a:prstGeom>
          <a:solidFill>
            <a:srgbClr val="FFFFFF"/>
          </a:solidFill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7" name="Rectangle 181">
            <a:extLst>
              <a:ext uri="{FF2B5EF4-FFF2-40B4-BE49-F238E27FC236}">
                <a16:creationId xmlns:a16="http://schemas.microsoft.com/office/drawing/2014/main" id="{AA9E7300-5E4C-4719-9C2F-50421677278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81707" y="1051536"/>
            <a:ext cx="294722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208" name="Rectangle 184">
            <a:extLst>
              <a:ext uri="{FF2B5EF4-FFF2-40B4-BE49-F238E27FC236}">
                <a16:creationId xmlns:a16="http://schemas.microsoft.com/office/drawing/2014/main" id="{BF11448B-B67D-4E74-8F28-746C25863E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777532" y="1314990"/>
            <a:ext cx="2955569" cy="2404081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algn="just"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isitas de seguimiento.</a:t>
            </a: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ga del establecimiento</a:t>
            </a:r>
          </a:p>
          <a:p>
            <a:pPr algn="just"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algn="just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9" name="Rectangle 186">
            <a:extLst>
              <a:ext uri="{FF2B5EF4-FFF2-40B4-BE49-F238E27FC236}">
                <a16:creationId xmlns:a16="http://schemas.microsoft.com/office/drawing/2014/main" id="{76721114-C99D-4B0C-B637-AD9B75A5C3A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59186" y="1026837"/>
            <a:ext cx="647027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210" name="Rectangle 186">
            <a:extLst>
              <a:ext uri="{FF2B5EF4-FFF2-40B4-BE49-F238E27FC236}">
                <a16:creationId xmlns:a16="http://schemas.microsoft.com/office/drawing/2014/main" id="{E38944E6-6AE5-4C71-8EB1-97C89302925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684755" y="102683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211" name="Rectangle 183">
            <a:extLst>
              <a:ext uri="{FF2B5EF4-FFF2-40B4-BE49-F238E27FC236}">
                <a16:creationId xmlns:a16="http://schemas.microsoft.com/office/drawing/2014/main" id="{14D50F74-97A1-401C-B759-5586ECE9AE6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341609" y="102158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212" name="Rectangle 186">
            <a:extLst>
              <a:ext uri="{FF2B5EF4-FFF2-40B4-BE49-F238E27FC236}">
                <a16:creationId xmlns:a16="http://schemas.microsoft.com/office/drawing/2014/main" id="{3D179B66-D978-40E1-BAC3-E58145CB5E8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333366" y="1267116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3" name="Rectangle 181">
            <a:extLst>
              <a:ext uri="{FF2B5EF4-FFF2-40B4-BE49-F238E27FC236}">
                <a16:creationId xmlns:a16="http://schemas.microsoft.com/office/drawing/2014/main" id="{05D6A13E-5C7F-4BA6-B1C3-EC6793A8FDA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94971" y="3808084"/>
            <a:ext cx="3009803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sp>
        <p:nvSpPr>
          <p:cNvPr id="214" name="Rectangle 181">
            <a:extLst>
              <a:ext uri="{FF2B5EF4-FFF2-40B4-BE49-F238E27FC236}">
                <a16:creationId xmlns:a16="http://schemas.microsoft.com/office/drawing/2014/main" id="{8912D683-1CF3-4816-B230-54C3A77B5B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7111" y="3795908"/>
            <a:ext cx="3032964" cy="266880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237744" rIns="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esgos y acciones tomadas</a:t>
            </a:r>
          </a:p>
        </p:txBody>
      </p:sp>
      <p:sp>
        <p:nvSpPr>
          <p:cNvPr id="215" name="Rectangle 181">
            <a:extLst>
              <a:ext uri="{FF2B5EF4-FFF2-40B4-BE49-F238E27FC236}">
                <a16:creationId xmlns:a16="http://schemas.microsoft.com/office/drawing/2014/main" id="{D683794F-A7AD-4949-A5A5-2A8692D48EBA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83677" y="3789184"/>
            <a:ext cx="3860126" cy="264301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216" name="Rectangle 178">
            <a:extLst>
              <a:ext uri="{FF2B5EF4-FFF2-40B4-BE49-F238E27FC236}">
                <a16:creationId xmlns:a16="http://schemas.microsoft.com/office/drawing/2014/main" id="{F0CEAC78-4C5A-4828-87E5-7DA3398204CF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22412" y="4061609"/>
            <a:ext cx="3821391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7" name="Rectangle 178">
            <a:extLst>
              <a:ext uri="{FF2B5EF4-FFF2-40B4-BE49-F238E27FC236}">
                <a16:creationId xmlns:a16="http://schemas.microsoft.com/office/drawing/2014/main" id="{EF888B13-3F62-4046-A80E-4B4E30AEDF3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297111" y="4062788"/>
            <a:ext cx="3032964" cy="21742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8" name="Rectangle 186">
            <a:extLst>
              <a:ext uri="{FF2B5EF4-FFF2-40B4-BE49-F238E27FC236}">
                <a16:creationId xmlns:a16="http://schemas.microsoft.com/office/drawing/2014/main" id="{8030DAD5-BDC4-4BBB-AAF0-90FACB0AADA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688929" y="1290262"/>
            <a:ext cx="608734" cy="2003468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s-ES" sz="1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</a:t>
            </a:r>
          </a:p>
        </p:txBody>
      </p:sp>
      <p:sp>
        <p:nvSpPr>
          <p:cNvPr id="219" name="Rectangle 186">
            <a:extLst>
              <a:ext uri="{FF2B5EF4-FFF2-40B4-BE49-F238E27FC236}">
                <a16:creationId xmlns:a16="http://schemas.microsoft.com/office/drawing/2014/main" id="{447C6A62-99ED-437F-A972-3669577241F4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921055" y="1314990"/>
            <a:ext cx="685157" cy="2387424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/11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/11/20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0" name="CuadroTexto 219">
            <a:extLst>
              <a:ext uri="{FF2B5EF4-FFF2-40B4-BE49-F238E27FC236}">
                <a16:creationId xmlns:a16="http://schemas.microsoft.com/office/drawing/2014/main" id="{5FC48DE7-0EEB-4320-9D9A-77DA546D4753}"/>
              </a:ext>
            </a:extLst>
          </p:cNvPr>
          <p:cNvSpPr txBox="1"/>
          <p:nvPr/>
        </p:nvSpPr>
        <p:spPr>
          <a:xfrm>
            <a:off x="437942" y="4246466"/>
            <a:ext cx="253058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/>
              <a:t>Etapa 1: 100%</a:t>
            </a:r>
          </a:p>
          <a:p>
            <a:pPr algn="just"/>
            <a:r>
              <a:rPr lang="es-CO" sz="1200" dirty="0"/>
              <a:t>Etapa 2: 88.02% ejecutado de la etapa de obra. vs Programado el 90%. El Corte de Obra N° 11 no fue claro. Se están subsanando observaciones.</a:t>
            </a:r>
          </a:p>
        </p:txBody>
      </p:sp>
      <p:pic>
        <p:nvPicPr>
          <p:cNvPr id="221" name="Imagen 220">
            <a:extLst>
              <a:ext uri="{FF2B5EF4-FFF2-40B4-BE49-F238E27FC236}">
                <a16:creationId xmlns:a16="http://schemas.microsoft.com/office/drawing/2014/main" id="{7F19B5A0-6494-4604-87F1-32A93939E79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6394" y="1427859"/>
            <a:ext cx="4496354" cy="1546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03</TotalTime>
  <Words>379</Words>
  <Application>Microsoft Office PowerPoint</Application>
  <PresentationFormat>Panorámica</PresentationFormat>
  <Paragraphs>71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65</cp:revision>
  <cp:lastPrinted>2019-10-29T22:15:30Z</cp:lastPrinted>
  <dcterms:created xsi:type="dcterms:W3CDTF">2019-06-28T15:32:40Z</dcterms:created>
  <dcterms:modified xsi:type="dcterms:W3CDTF">2020-04-14T01:04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